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37" r:id="rId2"/>
    <p:sldMasterId id="2147483756" r:id="rId3"/>
    <p:sldMasterId id="2147483775" r:id="rId4"/>
  </p:sldMasterIdLst>
  <p:notesMasterIdLst>
    <p:notesMasterId r:id="rId23"/>
  </p:notesMasterIdLst>
  <p:handoutMasterIdLst>
    <p:handoutMasterId r:id="rId24"/>
  </p:handoutMasterIdLst>
  <p:sldIdLst>
    <p:sldId id="256" r:id="rId5"/>
    <p:sldId id="257" r:id="rId6"/>
    <p:sldId id="270" r:id="rId7"/>
    <p:sldId id="273" r:id="rId8"/>
    <p:sldId id="278" r:id="rId9"/>
    <p:sldId id="279" r:id="rId10"/>
    <p:sldId id="281" r:id="rId11"/>
    <p:sldId id="282" r:id="rId12"/>
    <p:sldId id="283" r:id="rId13"/>
    <p:sldId id="284" r:id="rId14"/>
    <p:sldId id="285" r:id="rId15"/>
    <p:sldId id="288" r:id="rId16"/>
    <p:sldId id="280" r:id="rId17"/>
    <p:sldId id="286" r:id="rId18"/>
    <p:sldId id="287" r:id="rId19"/>
    <p:sldId id="271" r:id="rId20"/>
    <p:sldId id="272" r:id="rId21"/>
    <p:sldId id="277" r:id="rId22"/>
  </p:sldIdLst>
  <p:sldSz cx="9144000" cy="6858000" type="screen4x3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B010"/>
    <a:srgbClr val="88B4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615" autoAdjust="0"/>
    <p:restoredTop sz="86404" autoAdjust="0"/>
  </p:normalViewPr>
  <p:slideViewPr>
    <p:cSldViewPr>
      <p:cViewPr>
        <p:scale>
          <a:sx n="117" d="100"/>
          <a:sy n="117" d="100"/>
        </p:scale>
        <p:origin x="-330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272A348-2065-49C3-8614-B40201A321D2}" type="datetimeFigureOut">
              <a:rPr lang="fr-FR"/>
              <a:pPr>
                <a:defRPr/>
              </a:pPr>
              <a:t>12/08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1DF5D66-EFD1-4255-98A5-D60BD06A7B1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6492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0986313-4BBF-468B-80D9-4C38DD0DB0E3}" type="datetimeFigureOut">
              <a:rPr lang="fr-FR"/>
              <a:pPr>
                <a:defRPr/>
              </a:pPr>
              <a:t>12/08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56037826-4B8F-490D-83D0-3EAB13933AF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1251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74756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FA64C65-60BE-47E3-9C23-0120A1B35541}" type="slidenum">
              <a:rPr lang="fr-FR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fr-FR" alt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20"/>
          <p:cNvGrpSpPr>
            <a:grpSpLocks/>
          </p:cNvGrpSpPr>
          <p:nvPr/>
        </p:nvGrpSpPr>
        <p:grpSpPr bwMode="auto"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5" name="Rectangle 4"/>
            <p:cNvSpPr/>
            <p:nvPr userDrawn="1"/>
          </p:nvSpPr>
          <p:spPr>
            <a:xfrm>
              <a:off x="0" y="5948363"/>
              <a:ext cx="9144000" cy="649287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cxnSp>
          <p:nvCxnSpPr>
            <p:cNvPr id="6" name="Connecteur droit 5"/>
            <p:cNvCxnSpPr/>
            <p:nvPr userDrawn="1"/>
          </p:nvCxnSpPr>
          <p:spPr>
            <a:xfrm>
              <a:off x="8418513" y="5948363"/>
              <a:ext cx="0" cy="6651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/>
            <p:cNvCxnSpPr/>
            <p:nvPr userDrawn="1"/>
          </p:nvCxnSpPr>
          <p:spPr>
            <a:xfrm>
              <a:off x="2636838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e 24"/>
            <p:cNvGrpSpPr>
              <a:grpSpLocks/>
            </p:cNvGrpSpPr>
            <p:nvPr userDrawn="1"/>
          </p:nvGrpSpPr>
          <p:grpSpPr bwMode="auto"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0" name="Image 26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9592" y="6485176"/>
                <a:ext cx="219164" cy="250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Image 2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462" y="6532499"/>
                <a:ext cx="398466" cy="175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Image 28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9631" y="6541951"/>
                <a:ext cx="702053" cy="1794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" name="Titre 5"/>
            <p:cNvSpPr txBox="1">
              <a:spLocks/>
            </p:cNvSpPr>
            <p:nvPr userDrawn="1"/>
          </p:nvSpPr>
          <p:spPr>
            <a:xfrm>
              <a:off x="2741613" y="6613525"/>
              <a:ext cx="2046287" cy="149225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fontAlgn="auto">
                <a:lnSpc>
                  <a:spcPts val="1000"/>
                </a:lnSpc>
                <a:spcAft>
                  <a:spcPts val="0"/>
                </a:spcAft>
                <a:defRPr/>
              </a:pPr>
              <a:r>
                <a:rPr lang="fr-FR" sz="1600" b="1" spc="10" dirty="0" smtClean="0">
                  <a:solidFill>
                    <a:schemeClr val="bg2"/>
                  </a:solidFill>
                  <a:latin typeface="+mn-lt"/>
                  <a:cs typeface="Arial" pitchFamily="34" charset="0"/>
                </a:rPr>
                <a:t>www.groupe-sii.com</a:t>
              </a:r>
              <a:endParaRPr lang="fr-FR" sz="1600" b="1" spc="10" dirty="0">
                <a:solidFill>
                  <a:schemeClr val="bg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3" name="Espace réservé de la date 3"/>
          <p:cNvSpPr txBox="1">
            <a:spLocks/>
          </p:cNvSpPr>
          <p:nvPr userDrawn="1"/>
        </p:nvSpPr>
        <p:spPr>
          <a:xfrm>
            <a:off x="7077075" y="6597650"/>
            <a:ext cx="1066800" cy="1841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500" dirty="0">
              <a:solidFill>
                <a:schemeClr val="bg1"/>
              </a:solidFill>
            </a:endParaRPr>
          </a:p>
        </p:txBody>
      </p:sp>
      <p:sp>
        <p:nvSpPr>
          <p:cNvPr id="27" name="Titre 1"/>
          <p:cNvSpPr>
            <a:spLocks noGrp="1"/>
          </p:cNvSpPr>
          <p:nvPr>
            <p:ph type="ctrTitle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9815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3518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640722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1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tx2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4577398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239720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92773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1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39606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550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217129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90242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20"/>
          <p:cNvGrpSpPr>
            <a:grpSpLocks/>
          </p:cNvGrpSpPr>
          <p:nvPr/>
        </p:nvGrpSpPr>
        <p:grpSpPr bwMode="auto"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5" name="Rectangle 4"/>
            <p:cNvSpPr/>
            <p:nvPr userDrawn="1"/>
          </p:nvSpPr>
          <p:spPr>
            <a:xfrm>
              <a:off x="0" y="5948363"/>
              <a:ext cx="9144000" cy="649287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cxnSp>
          <p:nvCxnSpPr>
            <p:cNvPr id="6" name="Connecteur droit 5"/>
            <p:cNvCxnSpPr/>
            <p:nvPr userDrawn="1"/>
          </p:nvCxnSpPr>
          <p:spPr>
            <a:xfrm>
              <a:off x="8418513" y="5948363"/>
              <a:ext cx="0" cy="6651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/>
            <p:cNvCxnSpPr/>
            <p:nvPr userDrawn="1"/>
          </p:nvCxnSpPr>
          <p:spPr>
            <a:xfrm>
              <a:off x="2636838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e 24"/>
            <p:cNvGrpSpPr>
              <a:grpSpLocks/>
            </p:cNvGrpSpPr>
            <p:nvPr userDrawn="1"/>
          </p:nvGrpSpPr>
          <p:grpSpPr bwMode="auto"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9" name="Image 25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9592" y="6485176"/>
                <a:ext cx="219164" cy="250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Image 2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462" y="6532499"/>
                <a:ext cx="398466" cy="175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Image 27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9631" y="6541951"/>
                <a:ext cx="702053" cy="1794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2" name="Espace réservé de la date 3"/>
          <p:cNvSpPr txBox="1">
            <a:spLocks/>
          </p:cNvSpPr>
          <p:nvPr userDrawn="1"/>
        </p:nvSpPr>
        <p:spPr>
          <a:xfrm>
            <a:off x="7077075" y="6429375"/>
            <a:ext cx="1066800" cy="3238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dirty="0" smtClean="0">
              <a:solidFill>
                <a:schemeClr val="bg1"/>
              </a:solidFill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dirty="0" smtClean="0">
                <a:solidFill>
                  <a:schemeClr val="bg1"/>
                </a:solidFill>
              </a:rPr>
              <a:t>S4-0396-01</a:t>
            </a:r>
            <a:endParaRPr lang="fr-FR" sz="500" dirty="0">
              <a:solidFill>
                <a:schemeClr val="bg1"/>
              </a:solidFill>
            </a:endParaRPr>
          </a:p>
        </p:txBody>
      </p:sp>
      <p:sp>
        <p:nvSpPr>
          <p:cNvPr id="13" name="Titre 5"/>
          <p:cNvSpPr txBox="1">
            <a:spLocks/>
          </p:cNvSpPr>
          <p:nvPr userDrawn="1"/>
        </p:nvSpPr>
        <p:spPr>
          <a:xfrm>
            <a:off x="2741613" y="6613525"/>
            <a:ext cx="2046287" cy="1492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ts val="1000"/>
              </a:lnSpc>
              <a:spcAft>
                <a:spcPts val="0"/>
              </a:spcAft>
              <a:defRPr/>
            </a:pPr>
            <a:r>
              <a:rPr lang="fr-FR" sz="1600" b="1" spc="1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" name="Titre 1"/>
          <p:cNvSpPr>
            <a:spLocks noGrp="1"/>
          </p:cNvSpPr>
          <p:nvPr>
            <p:ph type="ctrTitle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46152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1"/>
          <p:cNvSpPr txBox="1">
            <a:spLocks noChangeArrowheads="1"/>
          </p:cNvSpPr>
          <p:nvPr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89006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1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609874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21"/>
          <p:cNvGrpSpPr>
            <a:grpSpLocks/>
          </p:cNvGrpSpPr>
          <p:nvPr userDrawn="1"/>
        </p:nvGrpSpPr>
        <p:grpSpPr bwMode="auto">
          <a:xfrm>
            <a:off x="0" y="44450"/>
            <a:ext cx="1831975" cy="288925"/>
            <a:chOff x="0" y="62656"/>
            <a:chExt cx="1831605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0" y="281529"/>
              <a:ext cx="1828431" cy="0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23"/>
            <p:cNvGrpSpPr>
              <a:grpSpLocks/>
            </p:cNvGrpSpPr>
            <p:nvPr userDrawn="1"/>
          </p:nvGrpSpPr>
          <p:grpSpPr bwMode="auto"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16" name="Rectangle à coins arrondis 15"/>
              <p:cNvSpPr/>
              <p:nvPr userDrawn="1"/>
            </p:nvSpPr>
            <p:spPr>
              <a:xfrm>
                <a:off x="1367160" y="62656"/>
                <a:ext cx="461869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35509" y="62656"/>
                <a:ext cx="1555436" cy="247421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 userDrawn="1"/>
            </p:nvSpPr>
            <p:spPr>
              <a:xfrm>
                <a:off x="-2576" y="62656"/>
                <a:ext cx="461870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7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750704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20"/>
          <p:cNvGrpSpPr>
            <a:grpSpLocks/>
          </p:cNvGrpSpPr>
          <p:nvPr userDrawn="1"/>
        </p:nvGrpSpPr>
        <p:grpSpPr bwMode="auto">
          <a:xfrm>
            <a:off x="0" y="44450"/>
            <a:ext cx="1831975" cy="288925"/>
            <a:chOff x="0" y="62656"/>
            <a:chExt cx="1831605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0" y="281529"/>
              <a:ext cx="1828431" cy="0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22"/>
            <p:cNvGrpSpPr>
              <a:grpSpLocks/>
            </p:cNvGrpSpPr>
            <p:nvPr userDrawn="1"/>
          </p:nvGrpSpPr>
          <p:grpSpPr bwMode="auto"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67160" y="62656"/>
                <a:ext cx="461869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5509" y="62656"/>
                <a:ext cx="1555436" cy="247421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6" y="62656"/>
                <a:ext cx="461870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38261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0"/>
          <p:cNvGrpSpPr>
            <a:grpSpLocks/>
          </p:cNvGrpSpPr>
          <p:nvPr userDrawn="1"/>
        </p:nvGrpSpPr>
        <p:grpSpPr bwMode="auto">
          <a:xfrm>
            <a:off x="0" y="44450"/>
            <a:ext cx="1831975" cy="288925"/>
            <a:chOff x="0" y="62656"/>
            <a:chExt cx="1831605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0" y="281529"/>
              <a:ext cx="1828431" cy="0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22"/>
            <p:cNvGrpSpPr>
              <a:grpSpLocks/>
            </p:cNvGrpSpPr>
            <p:nvPr userDrawn="1"/>
          </p:nvGrpSpPr>
          <p:grpSpPr bwMode="auto"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67160" y="62656"/>
                <a:ext cx="461869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 userDrawn="1"/>
            </p:nvSpPr>
            <p:spPr>
              <a:xfrm>
                <a:off x="135509" y="62656"/>
                <a:ext cx="1555436" cy="247421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 userDrawn="1"/>
            </p:nvSpPr>
            <p:spPr>
              <a:xfrm>
                <a:off x="-2576" y="62656"/>
                <a:ext cx="461870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24749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21"/>
          <p:cNvGrpSpPr>
            <a:grpSpLocks/>
          </p:cNvGrpSpPr>
          <p:nvPr userDrawn="1"/>
        </p:nvGrpSpPr>
        <p:grpSpPr bwMode="auto">
          <a:xfrm>
            <a:off x="1830388" y="44450"/>
            <a:ext cx="1828800" cy="288925"/>
            <a:chOff x="9129" y="62656"/>
            <a:chExt cx="1829850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>
              <a:off x="9129" y="281529"/>
              <a:ext cx="1828261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23"/>
            <p:cNvGrpSpPr>
              <a:grpSpLocks/>
            </p:cNvGrpSpPr>
            <p:nvPr userDrawn="1"/>
          </p:nvGrpSpPr>
          <p:grpSpPr bwMode="auto"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16" name="Rectangle à coins arrondis 15"/>
              <p:cNvSpPr/>
              <p:nvPr userDrawn="1"/>
            </p:nvSpPr>
            <p:spPr>
              <a:xfrm>
                <a:off x="1374175" y="62656"/>
                <a:ext cx="46222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43156" y="62656"/>
                <a:ext cx="1555054" cy="24742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 userDrawn="1"/>
            </p:nvSpPr>
            <p:spPr>
              <a:xfrm>
                <a:off x="6553" y="62656"/>
                <a:ext cx="46222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7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0152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20"/>
          <p:cNvGrpSpPr>
            <a:grpSpLocks/>
          </p:cNvGrpSpPr>
          <p:nvPr userDrawn="1"/>
        </p:nvGrpSpPr>
        <p:grpSpPr bwMode="auto">
          <a:xfrm>
            <a:off x="1830388" y="44450"/>
            <a:ext cx="1828800" cy="288925"/>
            <a:chOff x="9129" y="62656"/>
            <a:chExt cx="1829850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529"/>
              <a:ext cx="1828261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22"/>
            <p:cNvGrpSpPr>
              <a:grpSpLocks/>
            </p:cNvGrpSpPr>
            <p:nvPr userDrawn="1"/>
          </p:nvGrpSpPr>
          <p:grpSpPr bwMode="auto"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4175" y="62656"/>
                <a:ext cx="46222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156" y="62656"/>
                <a:ext cx="1555054" cy="24742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222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3478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0"/>
          <p:cNvGrpSpPr>
            <a:grpSpLocks/>
          </p:cNvGrpSpPr>
          <p:nvPr userDrawn="1"/>
        </p:nvGrpSpPr>
        <p:grpSpPr bwMode="auto">
          <a:xfrm>
            <a:off x="1830388" y="44450"/>
            <a:ext cx="1828800" cy="288925"/>
            <a:chOff x="9129" y="62656"/>
            <a:chExt cx="1829850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529"/>
              <a:ext cx="1828261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22"/>
            <p:cNvGrpSpPr>
              <a:grpSpLocks/>
            </p:cNvGrpSpPr>
            <p:nvPr userDrawn="1"/>
          </p:nvGrpSpPr>
          <p:grpSpPr bwMode="auto"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4175" y="62656"/>
                <a:ext cx="46222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 userDrawn="1"/>
            </p:nvSpPr>
            <p:spPr>
              <a:xfrm>
                <a:off x="143156" y="62656"/>
                <a:ext cx="1555054" cy="24742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 userDrawn="1"/>
            </p:nvSpPr>
            <p:spPr>
              <a:xfrm>
                <a:off x="6553" y="62656"/>
                <a:ext cx="46222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2683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21"/>
          <p:cNvGrpSpPr>
            <a:grpSpLocks/>
          </p:cNvGrpSpPr>
          <p:nvPr userDrawn="1"/>
        </p:nvGrpSpPr>
        <p:grpSpPr bwMode="auto">
          <a:xfrm>
            <a:off x="3657600" y="44450"/>
            <a:ext cx="1828800" cy="288925"/>
            <a:chOff x="9129" y="62656"/>
            <a:chExt cx="1831302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>
              <a:off x="9129" y="281529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23"/>
            <p:cNvGrpSpPr>
              <a:grpSpLocks/>
            </p:cNvGrpSpPr>
            <p:nvPr userDrawn="1"/>
          </p:nvGrpSpPr>
          <p:grpSpPr bwMode="auto"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16" name="Rectangle à coins arrondis 15"/>
              <p:cNvSpPr/>
              <p:nvPr userDrawn="1"/>
            </p:nvSpPr>
            <p:spPr>
              <a:xfrm>
                <a:off x="1376850" y="62656"/>
                <a:ext cx="461005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44855" y="62656"/>
                <a:ext cx="1554699" cy="247421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 userDrawn="1"/>
            </p:nvSpPr>
            <p:spPr>
              <a:xfrm>
                <a:off x="6553" y="62656"/>
                <a:ext cx="461005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7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9286930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20"/>
          <p:cNvGrpSpPr>
            <a:grpSpLocks/>
          </p:cNvGrpSpPr>
          <p:nvPr userDrawn="1"/>
        </p:nvGrpSpPr>
        <p:grpSpPr bwMode="auto">
          <a:xfrm>
            <a:off x="3657600" y="44450"/>
            <a:ext cx="1828800" cy="288925"/>
            <a:chOff x="9129" y="62656"/>
            <a:chExt cx="18313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529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22"/>
            <p:cNvGrpSpPr>
              <a:grpSpLocks/>
            </p:cNvGrpSpPr>
            <p:nvPr userDrawn="1"/>
          </p:nvGrpSpPr>
          <p:grpSpPr bwMode="auto"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850" y="62656"/>
                <a:ext cx="461005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855" y="62656"/>
                <a:ext cx="1554699" cy="247421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005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2558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0"/>
          <p:cNvGrpSpPr>
            <a:grpSpLocks/>
          </p:cNvGrpSpPr>
          <p:nvPr userDrawn="1"/>
        </p:nvGrpSpPr>
        <p:grpSpPr bwMode="auto">
          <a:xfrm>
            <a:off x="3657600" y="44450"/>
            <a:ext cx="1828800" cy="288925"/>
            <a:chOff x="9129" y="62656"/>
            <a:chExt cx="18313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529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22"/>
            <p:cNvGrpSpPr>
              <a:grpSpLocks/>
            </p:cNvGrpSpPr>
            <p:nvPr userDrawn="1"/>
          </p:nvGrpSpPr>
          <p:grpSpPr bwMode="auto"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850" y="62656"/>
                <a:ext cx="461005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 userDrawn="1"/>
            </p:nvSpPr>
            <p:spPr>
              <a:xfrm>
                <a:off x="144855" y="62656"/>
                <a:ext cx="1554699" cy="247421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 userDrawn="1"/>
            </p:nvSpPr>
            <p:spPr>
              <a:xfrm>
                <a:off x="6553" y="62656"/>
                <a:ext cx="461005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10635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1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946479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7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9" name="Connecteur droit 8"/>
            <p:cNvCxnSpPr/>
            <p:nvPr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6" name="Rectangle à coins arrondis 15"/>
              <p:cNvSpPr/>
              <p:nvPr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7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267353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5" name="Connecteur droit 4"/>
            <p:cNvCxnSpPr/>
            <p:nvPr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13721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4" name="Connecteur droit 3"/>
            <p:cNvCxnSpPr/>
            <p:nvPr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421572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7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9" name="Connecteur droit 8"/>
            <p:cNvCxnSpPr/>
            <p:nvPr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6" name="Rectangle à coins arrondis 15"/>
              <p:cNvSpPr/>
              <p:nvPr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7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6"/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 b="1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8731813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5" name="Connecteur droit 4"/>
            <p:cNvCxnSpPr/>
            <p:nvPr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47431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4" name="Connecteur droit 3"/>
            <p:cNvCxnSpPr/>
            <p:nvPr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60429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18718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7"/>
          <p:cNvGrpSpPr>
            <a:grpSpLocks/>
          </p:cNvGrpSpPr>
          <p:nvPr/>
        </p:nvGrpSpPr>
        <p:grpSpPr bwMode="auto"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5" name="Rectangle 4"/>
            <p:cNvSpPr/>
            <p:nvPr userDrawn="1"/>
          </p:nvSpPr>
          <p:spPr>
            <a:xfrm>
              <a:off x="0" y="5948363"/>
              <a:ext cx="9144000" cy="649287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cxnSp>
          <p:nvCxnSpPr>
            <p:cNvPr id="6" name="Connecteur droit 5"/>
            <p:cNvCxnSpPr/>
            <p:nvPr userDrawn="1"/>
          </p:nvCxnSpPr>
          <p:spPr>
            <a:xfrm>
              <a:off x="8418513" y="5948363"/>
              <a:ext cx="0" cy="6651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/>
            <p:cNvCxnSpPr/>
            <p:nvPr userDrawn="1"/>
          </p:nvCxnSpPr>
          <p:spPr>
            <a:xfrm>
              <a:off x="2636838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e 23"/>
            <p:cNvGrpSpPr>
              <a:grpSpLocks/>
            </p:cNvGrpSpPr>
            <p:nvPr userDrawn="1"/>
          </p:nvGrpSpPr>
          <p:grpSpPr bwMode="auto"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9" name="Image 24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9592" y="6485176"/>
                <a:ext cx="219164" cy="250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Image 2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462" y="6532499"/>
                <a:ext cx="398466" cy="175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Image 2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9631" y="6541951"/>
                <a:ext cx="702053" cy="1794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2" name="Espace réservé de la date 3"/>
          <p:cNvSpPr txBox="1">
            <a:spLocks/>
          </p:cNvSpPr>
          <p:nvPr userDrawn="1"/>
        </p:nvSpPr>
        <p:spPr>
          <a:xfrm>
            <a:off x="7077075" y="6429375"/>
            <a:ext cx="1066800" cy="3238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dirty="0" smtClean="0">
              <a:solidFill>
                <a:schemeClr val="bg1"/>
              </a:solidFill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dirty="0" smtClean="0">
                <a:solidFill>
                  <a:schemeClr val="bg1"/>
                </a:solidFill>
              </a:rPr>
              <a:t>S4-0396-01</a:t>
            </a:r>
            <a:endParaRPr lang="fr-FR" sz="500" dirty="0">
              <a:solidFill>
                <a:schemeClr val="bg1"/>
              </a:solidFill>
            </a:endParaRPr>
          </a:p>
        </p:txBody>
      </p:sp>
      <p:sp>
        <p:nvSpPr>
          <p:cNvPr id="13" name="Titre 5"/>
          <p:cNvSpPr txBox="1">
            <a:spLocks/>
          </p:cNvSpPr>
          <p:nvPr userDrawn="1"/>
        </p:nvSpPr>
        <p:spPr>
          <a:xfrm>
            <a:off x="2741613" y="6613525"/>
            <a:ext cx="2046287" cy="1492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ts val="1000"/>
              </a:lnSpc>
              <a:spcAft>
                <a:spcPts val="0"/>
              </a:spcAft>
              <a:defRPr/>
            </a:pPr>
            <a:r>
              <a:rPr lang="fr-FR" sz="1600" b="1" spc="1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" name="Titre 1"/>
          <p:cNvSpPr>
            <a:spLocks noGrp="1"/>
          </p:cNvSpPr>
          <p:nvPr>
            <p:ph type="ctrTitle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75183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0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210113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20"/>
          <p:cNvGrpSpPr>
            <a:grpSpLocks/>
          </p:cNvGrpSpPr>
          <p:nvPr userDrawn="1"/>
        </p:nvGrpSpPr>
        <p:grpSpPr bwMode="auto">
          <a:xfrm>
            <a:off x="1588" y="44450"/>
            <a:ext cx="2286000" cy="288925"/>
            <a:chOff x="2699792" y="1499718"/>
            <a:chExt cx="2286442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2699792" y="1718591"/>
              <a:ext cx="2286442" cy="0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à coins arrondis 12"/>
            <p:cNvSpPr/>
            <p:nvPr userDrawn="1"/>
          </p:nvSpPr>
          <p:spPr>
            <a:xfrm>
              <a:off x="4524182" y="1499718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2885565" y="1499718"/>
              <a:ext cx="1914895" cy="2474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à coins arrondis 16"/>
            <p:cNvSpPr/>
            <p:nvPr userDrawn="1"/>
          </p:nvSpPr>
          <p:spPr>
            <a:xfrm>
              <a:off x="2699792" y="1499718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8" name="ZoneTexte 25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1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5522248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23148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7"/>
          <p:cNvGrpSpPr>
            <a:grpSpLocks/>
          </p:cNvGrpSpPr>
          <p:nvPr userDrawn="1"/>
        </p:nvGrpSpPr>
        <p:grpSpPr bwMode="auto">
          <a:xfrm>
            <a:off x="1588" y="44450"/>
            <a:ext cx="2286000" cy="288925"/>
            <a:chOff x="2699792" y="1499718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699792" y="1718591"/>
              <a:ext cx="2286442" cy="0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524182" y="1499718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885565" y="1499718"/>
              <a:ext cx="1914895" cy="2474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884445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7"/>
          <p:cNvGrpSpPr>
            <a:grpSpLocks/>
          </p:cNvGrpSpPr>
          <p:nvPr userDrawn="1"/>
        </p:nvGrpSpPr>
        <p:grpSpPr bwMode="auto">
          <a:xfrm>
            <a:off x="1588" y="44450"/>
            <a:ext cx="2286000" cy="288925"/>
            <a:chOff x="2699792" y="1499718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699792" y="1718591"/>
              <a:ext cx="2286442" cy="0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524182" y="1499718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885565" y="1499718"/>
              <a:ext cx="1914895" cy="2474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à coins arrondis 6"/>
            <p:cNvSpPr/>
            <p:nvPr userDrawn="1"/>
          </p:nvSpPr>
          <p:spPr>
            <a:xfrm>
              <a:off x="2699792" y="1499718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331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20"/>
          <p:cNvGrpSpPr>
            <a:grpSpLocks/>
          </p:cNvGrpSpPr>
          <p:nvPr userDrawn="1"/>
        </p:nvGrpSpPr>
        <p:grpSpPr bwMode="auto">
          <a:xfrm>
            <a:off x="2286000" y="44450"/>
            <a:ext cx="2286000" cy="288925"/>
            <a:chOff x="2285558" y="44624"/>
            <a:chExt cx="2286442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2285558" y="263497"/>
              <a:ext cx="2286442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à coins arrondis 12"/>
            <p:cNvSpPr/>
            <p:nvPr userDrawn="1"/>
          </p:nvSpPr>
          <p:spPr>
            <a:xfrm>
              <a:off x="4109949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2471332" y="44624"/>
              <a:ext cx="1914895" cy="2474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à coins arrondis 16"/>
            <p:cNvSpPr/>
            <p:nvPr userDrawn="1"/>
          </p:nvSpPr>
          <p:spPr>
            <a:xfrm>
              <a:off x="2285558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8" name="ZoneTexte 25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1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7180655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7"/>
          <p:cNvGrpSpPr>
            <a:grpSpLocks/>
          </p:cNvGrpSpPr>
          <p:nvPr userDrawn="1"/>
        </p:nvGrpSpPr>
        <p:grpSpPr bwMode="auto">
          <a:xfrm>
            <a:off x="2286000" y="44450"/>
            <a:ext cx="2286000" cy="288925"/>
            <a:chOff x="2285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285558" y="263497"/>
              <a:ext cx="2286442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109949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471332" y="44624"/>
              <a:ext cx="1914895" cy="2474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038620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7"/>
          <p:cNvGrpSpPr>
            <a:grpSpLocks/>
          </p:cNvGrpSpPr>
          <p:nvPr userDrawn="1"/>
        </p:nvGrpSpPr>
        <p:grpSpPr bwMode="auto">
          <a:xfrm>
            <a:off x="2286000" y="44450"/>
            <a:ext cx="2286000" cy="288925"/>
            <a:chOff x="2285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285558" y="263497"/>
              <a:ext cx="2286442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109949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471332" y="44624"/>
              <a:ext cx="1914895" cy="2474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à coins arrondis 6"/>
            <p:cNvSpPr/>
            <p:nvPr userDrawn="1"/>
          </p:nvSpPr>
          <p:spPr>
            <a:xfrm>
              <a:off x="2285558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2994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20"/>
          <p:cNvGrpSpPr>
            <a:grpSpLocks/>
          </p:cNvGrpSpPr>
          <p:nvPr userDrawn="1"/>
        </p:nvGrpSpPr>
        <p:grpSpPr bwMode="auto">
          <a:xfrm>
            <a:off x="4572000" y="44450"/>
            <a:ext cx="2286000" cy="288925"/>
            <a:chOff x="4572000" y="44624"/>
            <a:chExt cx="2286442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4572000" y="263497"/>
              <a:ext cx="228644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à coins arrondis 12"/>
            <p:cNvSpPr/>
            <p:nvPr userDrawn="1"/>
          </p:nvSpPr>
          <p:spPr>
            <a:xfrm>
              <a:off x="6396391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4757774" y="44624"/>
              <a:ext cx="1914895" cy="24742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à coins arrondis 16"/>
            <p:cNvSpPr/>
            <p:nvPr userDrawn="1"/>
          </p:nvSpPr>
          <p:spPr>
            <a:xfrm>
              <a:off x="4572000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8" name="ZoneTexte 25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1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6752194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7"/>
          <p:cNvGrpSpPr>
            <a:grpSpLocks/>
          </p:cNvGrpSpPr>
          <p:nvPr userDrawn="1"/>
        </p:nvGrpSpPr>
        <p:grpSpPr bwMode="auto">
          <a:xfrm>
            <a:off x="4572000" y="44450"/>
            <a:ext cx="2286000" cy="288925"/>
            <a:chOff x="4572000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4572000" y="263497"/>
              <a:ext cx="228644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6396391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4757774" y="44624"/>
              <a:ext cx="1914895" cy="24742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37127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7"/>
          <p:cNvGrpSpPr>
            <a:grpSpLocks/>
          </p:cNvGrpSpPr>
          <p:nvPr userDrawn="1"/>
        </p:nvGrpSpPr>
        <p:grpSpPr bwMode="auto">
          <a:xfrm>
            <a:off x="4572000" y="44450"/>
            <a:ext cx="2286000" cy="288925"/>
            <a:chOff x="4572000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4572000" y="263497"/>
              <a:ext cx="228644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6396391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4757774" y="44624"/>
              <a:ext cx="1914895" cy="24742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à coins arrondis 6"/>
            <p:cNvSpPr/>
            <p:nvPr userDrawn="1"/>
          </p:nvSpPr>
          <p:spPr>
            <a:xfrm>
              <a:off x="4572000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76951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20"/>
          <p:cNvGrpSpPr>
            <a:grpSpLocks/>
          </p:cNvGrpSpPr>
          <p:nvPr userDrawn="1"/>
        </p:nvGrpSpPr>
        <p:grpSpPr bwMode="auto">
          <a:xfrm>
            <a:off x="6858000" y="44450"/>
            <a:ext cx="2286000" cy="288925"/>
            <a:chOff x="6857558" y="44624"/>
            <a:chExt cx="2286442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6857558" y="263497"/>
              <a:ext cx="2286442" cy="0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à coins arrondis 12"/>
            <p:cNvSpPr/>
            <p:nvPr userDrawn="1"/>
          </p:nvSpPr>
          <p:spPr>
            <a:xfrm>
              <a:off x="8681949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7043332" y="44624"/>
              <a:ext cx="1914895" cy="2474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à coins arrondis 16"/>
            <p:cNvSpPr/>
            <p:nvPr userDrawn="1"/>
          </p:nvSpPr>
          <p:spPr>
            <a:xfrm>
              <a:off x="6857558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8" name="ZoneTexte 25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1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7132620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7"/>
          <p:cNvGrpSpPr>
            <a:grpSpLocks/>
          </p:cNvGrpSpPr>
          <p:nvPr userDrawn="1"/>
        </p:nvGrpSpPr>
        <p:grpSpPr bwMode="auto">
          <a:xfrm>
            <a:off x="6858000" y="44450"/>
            <a:ext cx="2286000" cy="288925"/>
            <a:chOff x="6857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6857558" y="263497"/>
              <a:ext cx="2286442" cy="0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8681949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7043332" y="44624"/>
              <a:ext cx="1914895" cy="2474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7003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40674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7"/>
          <p:cNvGrpSpPr>
            <a:grpSpLocks/>
          </p:cNvGrpSpPr>
          <p:nvPr userDrawn="1"/>
        </p:nvGrpSpPr>
        <p:grpSpPr bwMode="auto">
          <a:xfrm>
            <a:off x="6858000" y="44450"/>
            <a:ext cx="2286000" cy="288925"/>
            <a:chOff x="6857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6857558" y="263497"/>
              <a:ext cx="2286442" cy="0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8681949" y="44624"/>
              <a:ext cx="462051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7043332" y="44624"/>
              <a:ext cx="1914895" cy="2474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à coins arrondis 6"/>
            <p:cNvSpPr/>
            <p:nvPr userDrawn="1"/>
          </p:nvSpPr>
          <p:spPr>
            <a:xfrm>
              <a:off x="6857558" y="44624"/>
              <a:ext cx="462052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06983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557110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2"/>
          <p:cNvGrpSpPr>
            <a:grpSpLocks/>
          </p:cNvGrpSpPr>
          <p:nvPr/>
        </p:nvGrpSpPr>
        <p:grpSpPr bwMode="auto"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5" name="Rectangle 4"/>
            <p:cNvSpPr/>
            <p:nvPr userDrawn="1"/>
          </p:nvSpPr>
          <p:spPr>
            <a:xfrm>
              <a:off x="0" y="5948363"/>
              <a:ext cx="9144000" cy="649287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/>
            </a:p>
          </p:txBody>
        </p:sp>
        <p:cxnSp>
          <p:nvCxnSpPr>
            <p:cNvPr id="6" name="Connecteur droit 5"/>
            <p:cNvCxnSpPr/>
            <p:nvPr userDrawn="1"/>
          </p:nvCxnSpPr>
          <p:spPr>
            <a:xfrm>
              <a:off x="8418513" y="5948363"/>
              <a:ext cx="0" cy="6651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/>
            <p:cNvCxnSpPr/>
            <p:nvPr userDrawn="1"/>
          </p:nvCxnSpPr>
          <p:spPr>
            <a:xfrm>
              <a:off x="2636838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e 21"/>
            <p:cNvGrpSpPr>
              <a:grpSpLocks/>
            </p:cNvGrpSpPr>
            <p:nvPr userDrawn="1"/>
          </p:nvGrpSpPr>
          <p:grpSpPr bwMode="auto"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9" name="Image 22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9592" y="6485176"/>
                <a:ext cx="219164" cy="250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Image 2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462" y="6532499"/>
                <a:ext cx="398466" cy="175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Image 24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9631" y="6541951"/>
                <a:ext cx="702053" cy="1794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2" name="Espace réservé de la date 3"/>
          <p:cNvSpPr txBox="1">
            <a:spLocks/>
          </p:cNvSpPr>
          <p:nvPr userDrawn="1"/>
        </p:nvSpPr>
        <p:spPr>
          <a:xfrm>
            <a:off x="7077075" y="6429375"/>
            <a:ext cx="1066800" cy="3238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dirty="0" smtClean="0">
              <a:solidFill>
                <a:schemeClr val="bg1"/>
              </a:solidFill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dirty="0" smtClean="0">
                <a:solidFill>
                  <a:schemeClr val="bg1"/>
                </a:solidFill>
              </a:rPr>
              <a:t>S4-0396-01</a:t>
            </a:r>
            <a:endParaRPr lang="fr-FR" sz="500" dirty="0">
              <a:solidFill>
                <a:schemeClr val="bg1"/>
              </a:solidFill>
            </a:endParaRPr>
          </a:p>
        </p:txBody>
      </p:sp>
      <p:sp>
        <p:nvSpPr>
          <p:cNvPr id="13" name="Titre 5"/>
          <p:cNvSpPr txBox="1">
            <a:spLocks/>
          </p:cNvSpPr>
          <p:nvPr userDrawn="1"/>
        </p:nvSpPr>
        <p:spPr>
          <a:xfrm>
            <a:off x="2741613" y="6613525"/>
            <a:ext cx="2046287" cy="1492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ts val="1000"/>
              </a:lnSpc>
              <a:spcAft>
                <a:spcPts val="0"/>
              </a:spcAft>
              <a:defRPr/>
            </a:pPr>
            <a:r>
              <a:rPr lang="fr-FR" sz="1600" b="1" spc="1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" name="Titre 1"/>
          <p:cNvSpPr>
            <a:spLocks noGrp="1"/>
          </p:cNvSpPr>
          <p:nvPr>
            <p:ph type="ctrTitle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5250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14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329149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14"/>
          <p:cNvGrpSpPr>
            <a:grpSpLocks/>
          </p:cNvGrpSpPr>
          <p:nvPr userDrawn="1"/>
        </p:nvGrpSpPr>
        <p:grpSpPr bwMode="auto">
          <a:xfrm>
            <a:off x="0" y="44450"/>
            <a:ext cx="3048000" cy="288925"/>
            <a:chOff x="-2823" y="62656"/>
            <a:chExt cx="3048442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-2823" y="276771"/>
              <a:ext cx="3048442" cy="4758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20"/>
            <p:cNvGrpSpPr>
              <a:grpSpLocks/>
            </p:cNvGrpSpPr>
            <p:nvPr userDrawn="1"/>
          </p:nvGrpSpPr>
          <p:grpSpPr bwMode="auto"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16" name="Rectangle à coins arrondis 15"/>
              <p:cNvSpPr/>
              <p:nvPr userDrawn="1"/>
            </p:nvSpPr>
            <p:spPr>
              <a:xfrm>
                <a:off x="2581014" y="62656"/>
                <a:ext cx="46202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80366" y="62656"/>
                <a:ext cx="2676913" cy="24742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 userDrawn="1"/>
            </p:nvSpPr>
            <p:spPr>
              <a:xfrm>
                <a:off x="-5399" y="62656"/>
                <a:ext cx="462030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4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7958973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2"/>
          <p:cNvGrpSpPr>
            <a:grpSpLocks/>
          </p:cNvGrpSpPr>
          <p:nvPr userDrawn="1"/>
        </p:nvGrpSpPr>
        <p:grpSpPr bwMode="auto">
          <a:xfrm>
            <a:off x="0" y="44450"/>
            <a:ext cx="3048000" cy="288925"/>
            <a:chOff x="-2823" y="62656"/>
            <a:chExt cx="3048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-2823" y="276771"/>
              <a:ext cx="3048442" cy="4758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17"/>
            <p:cNvGrpSpPr>
              <a:grpSpLocks/>
            </p:cNvGrpSpPr>
            <p:nvPr userDrawn="1"/>
          </p:nvGrpSpPr>
          <p:grpSpPr bwMode="auto"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2581014" y="62656"/>
                <a:ext cx="46202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0366" y="62656"/>
                <a:ext cx="2676913" cy="24742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2030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65168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2"/>
          <p:cNvGrpSpPr>
            <a:grpSpLocks/>
          </p:cNvGrpSpPr>
          <p:nvPr userDrawn="1"/>
        </p:nvGrpSpPr>
        <p:grpSpPr bwMode="auto">
          <a:xfrm>
            <a:off x="0" y="44450"/>
            <a:ext cx="3048000" cy="288925"/>
            <a:chOff x="-2823" y="62656"/>
            <a:chExt cx="3048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-2823" y="276771"/>
              <a:ext cx="3048442" cy="4758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17"/>
            <p:cNvGrpSpPr>
              <a:grpSpLocks/>
            </p:cNvGrpSpPr>
            <p:nvPr userDrawn="1"/>
          </p:nvGrpSpPr>
          <p:grpSpPr bwMode="auto"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2581014" y="62656"/>
                <a:ext cx="46202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 userDrawn="1"/>
            </p:nvSpPr>
            <p:spPr>
              <a:xfrm>
                <a:off x="180366" y="62656"/>
                <a:ext cx="2676913" cy="24742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 userDrawn="1"/>
            </p:nvSpPr>
            <p:spPr>
              <a:xfrm>
                <a:off x="-5399" y="62656"/>
                <a:ext cx="462030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066469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14"/>
          <p:cNvGrpSpPr>
            <a:grpSpLocks/>
          </p:cNvGrpSpPr>
          <p:nvPr userDrawn="1"/>
        </p:nvGrpSpPr>
        <p:grpSpPr bwMode="auto">
          <a:xfrm>
            <a:off x="3048000" y="44450"/>
            <a:ext cx="3048000" cy="288925"/>
            <a:chOff x="9129" y="62656"/>
            <a:chExt cx="2213757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9129" y="276771"/>
              <a:ext cx="2213757" cy="4758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20"/>
            <p:cNvGrpSpPr>
              <a:grpSpLocks/>
            </p:cNvGrpSpPr>
            <p:nvPr userDrawn="1"/>
          </p:nvGrpSpPr>
          <p:grpSpPr bwMode="auto"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16" name="Rectangle à coins arrondis 15"/>
              <p:cNvSpPr/>
              <p:nvPr userDrawn="1"/>
            </p:nvSpPr>
            <p:spPr>
              <a:xfrm>
                <a:off x="1759111" y="62656"/>
                <a:ext cx="46119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87574" y="62656"/>
                <a:ext cx="1851715" cy="24742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 userDrawn="1"/>
            </p:nvSpPr>
            <p:spPr>
              <a:xfrm>
                <a:off x="6553" y="62656"/>
                <a:ext cx="46119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4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6254561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2"/>
          <p:cNvGrpSpPr>
            <a:grpSpLocks/>
          </p:cNvGrpSpPr>
          <p:nvPr userDrawn="1"/>
        </p:nvGrpSpPr>
        <p:grpSpPr bwMode="auto">
          <a:xfrm>
            <a:off x="3048000" y="44450"/>
            <a:ext cx="3048000" cy="288925"/>
            <a:chOff x="9129" y="62656"/>
            <a:chExt cx="2213757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771"/>
              <a:ext cx="2213757" cy="4758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17"/>
            <p:cNvGrpSpPr>
              <a:grpSpLocks/>
            </p:cNvGrpSpPr>
            <p:nvPr userDrawn="1"/>
          </p:nvGrpSpPr>
          <p:grpSpPr bwMode="auto"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9111" y="62656"/>
                <a:ext cx="46119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574" y="62656"/>
                <a:ext cx="1851715" cy="24742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19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59376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2"/>
          <p:cNvGrpSpPr>
            <a:grpSpLocks/>
          </p:cNvGrpSpPr>
          <p:nvPr userDrawn="1"/>
        </p:nvGrpSpPr>
        <p:grpSpPr bwMode="auto">
          <a:xfrm>
            <a:off x="3048000" y="44450"/>
            <a:ext cx="3048000" cy="288925"/>
            <a:chOff x="9129" y="62656"/>
            <a:chExt cx="2213757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771"/>
              <a:ext cx="2213757" cy="4758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17"/>
            <p:cNvGrpSpPr>
              <a:grpSpLocks/>
            </p:cNvGrpSpPr>
            <p:nvPr userDrawn="1"/>
          </p:nvGrpSpPr>
          <p:grpSpPr bwMode="auto"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9111" y="62656"/>
                <a:ext cx="46119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 userDrawn="1"/>
            </p:nvSpPr>
            <p:spPr>
              <a:xfrm>
                <a:off x="187574" y="62656"/>
                <a:ext cx="1851715" cy="24742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 userDrawn="1"/>
            </p:nvSpPr>
            <p:spPr>
              <a:xfrm>
                <a:off x="6553" y="62656"/>
                <a:ext cx="461199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92237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1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9103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e 14"/>
          <p:cNvGrpSpPr>
            <a:grpSpLocks/>
          </p:cNvGrpSpPr>
          <p:nvPr userDrawn="1"/>
        </p:nvGrpSpPr>
        <p:grpSpPr bwMode="auto">
          <a:xfrm>
            <a:off x="6099175" y="44450"/>
            <a:ext cx="3048000" cy="288925"/>
            <a:chOff x="9129" y="62656"/>
            <a:chExt cx="2213702" cy="288658"/>
          </a:xfrm>
        </p:grpSpPr>
        <p:cxnSp>
          <p:nvCxnSpPr>
            <p:cNvPr id="9" name="Connecteur droit 8"/>
            <p:cNvCxnSpPr/>
            <p:nvPr userDrawn="1"/>
          </p:nvCxnSpPr>
          <p:spPr>
            <a:xfrm flipV="1">
              <a:off x="9129" y="276771"/>
              <a:ext cx="2213702" cy="4758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20"/>
            <p:cNvGrpSpPr>
              <a:grpSpLocks/>
            </p:cNvGrpSpPr>
            <p:nvPr userDrawn="1"/>
          </p:nvGrpSpPr>
          <p:grpSpPr bwMode="auto"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16" name="Rectangle à coins arrondis 15"/>
              <p:cNvSpPr/>
              <p:nvPr userDrawn="1"/>
            </p:nvSpPr>
            <p:spPr>
              <a:xfrm>
                <a:off x="1759067" y="62656"/>
                <a:ext cx="46118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87570" y="62656"/>
                <a:ext cx="1851669" cy="247421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à coins arrondis 17"/>
              <p:cNvSpPr/>
              <p:nvPr userDrawn="1"/>
            </p:nvSpPr>
            <p:spPr>
              <a:xfrm>
                <a:off x="6553" y="62656"/>
                <a:ext cx="46118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9" name="ZoneTexte 24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7804719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2"/>
          <p:cNvGrpSpPr>
            <a:grpSpLocks/>
          </p:cNvGrpSpPr>
          <p:nvPr userDrawn="1"/>
        </p:nvGrpSpPr>
        <p:grpSpPr bwMode="auto">
          <a:xfrm>
            <a:off x="6099175" y="44450"/>
            <a:ext cx="3048000" cy="288925"/>
            <a:chOff x="9129" y="62656"/>
            <a:chExt cx="22137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771"/>
              <a:ext cx="2213702" cy="4758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17"/>
            <p:cNvGrpSpPr>
              <a:grpSpLocks/>
            </p:cNvGrpSpPr>
            <p:nvPr userDrawn="1"/>
          </p:nvGrpSpPr>
          <p:grpSpPr bwMode="auto"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9067" y="62656"/>
                <a:ext cx="46118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570" y="62656"/>
                <a:ext cx="1851669" cy="247421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18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12535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2"/>
          <p:cNvGrpSpPr>
            <a:grpSpLocks/>
          </p:cNvGrpSpPr>
          <p:nvPr userDrawn="1"/>
        </p:nvGrpSpPr>
        <p:grpSpPr bwMode="auto">
          <a:xfrm>
            <a:off x="6099175" y="44450"/>
            <a:ext cx="3048000" cy="288925"/>
            <a:chOff x="9129" y="62656"/>
            <a:chExt cx="22137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771"/>
              <a:ext cx="2213702" cy="4758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17"/>
            <p:cNvGrpSpPr>
              <a:grpSpLocks/>
            </p:cNvGrpSpPr>
            <p:nvPr userDrawn="1"/>
          </p:nvGrpSpPr>
          <p:grpSpPr bwMode="auto"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9067" y="62656"/>
                <a:ext cx="46118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" name="Rectangle 6"/>
              <p:cNvSpPr/>
              <p:nvPr userDrawn="1"/>
            </p:nvSpPr>
            <p:spPr>
              <a:xfrm>
                <a:off x="187570" y="62656"/>
                <a:ext cx="1851669" cy="247421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à coins arrondis 7"/>
              <p:cNvSpPr/>
              <p:nvPr userDrawn="1"/>
            </p:nvSpPr>
            <p:spPr>
              <a:xfrm>
                <a:off x="6553" y="62656"/>
                <a:ext cx="461188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87134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2571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5694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85506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650"/>
            <a:ext cx="1744663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21"/>
          <p:cNvSpPr txBox="1">
            <a:spLocks noChangeArrowheads="1"/>
          </p:cNvSpPr>
          <p:nvPr userDrawn="1"/>
        </p:nvSpPr>
        <p:spPr bwMode="auto">
          <a:xfrm>
            <a:off x="468313" y="503238"/>
            <a:ext cx="5761037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sz="2600" b="1">
                <a:solidFill>
                  <a:schemeClr val="accent1"/>
                </a:solidFill>
              </a:rPr>
              <a:t>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5825" y="6613525"/>
            <a:ext cx="1066800" cy="1682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2E9CA10-05CB-42BF-A81C-0D270473C232}" type="datetimeFigureOut">
              <a:rPr lang="fr-FR" sz="1100" smtClean="0">
                <a:solidFill>
                  <a:schemeClr val="bg1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/08/2014</a:t>
            </a:fld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214780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988"/>
            <a:ext cx="9144000" cy="368300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8513" y="6503988"/>
            <a:ext cx="0" cy="3540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8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088" y="6613525"/>
            <a:ext cx="647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fr-FR" sz="800">
                <a:solidFill>
                  <a:schemeClr val="bg1"/>
                </a:solidFill>
              </a:rPr>
              <a:t>  </a:t>
            </a:r>
            <a:r>
              <a:rPr lang="en-US" altLang="fr-FR" sz="1000">
                <a:solidFill>
                  <a:schemeClr val="bg1"/>
                </a:solidFill>
              </a:rPr>
              <a:t>Page </a:t>
            </a:r>
            <a:fld id="{C8E8F866-F910-4CD2-87AF-36250B30B5F6}" type="slidenum">
              <a:rPr lang="en-US" altLang="fr-FR" sz="900">
                <a:solidFill>
                  <a:schemeClr val="bg1"/>
                </a:solidFill>
              </a:rPr>
              <a:pPr algn="ctr"/>
              <a:t>‹N°›</a:t>
            </a:fld>
            <a:endParaRPr lang="en-US" altLang="fr-FR" sz="800">
              <a:solidFill>
                <a:schemeClr val="bg1"/>
              </a:solidFill>
            </a:endParaRPr>
          </a:p>
        </p:txBody>
      </p:sp>
      <p:pic>
        <p:nvPicPr>
          <p:cNvPr id="102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5600"/>
            <a:ext cx="9144000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501650"/>
            <a:ext cx="123031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1" name="Groupe 2"/>
          <p:cNvGrpSpPr>
            <a:grpSpLocks/>
          </p:cNvGrpSpPr>
          <p:nvPr/>
        </p:nvGrpSpPr>
        <p:grpSpPr bwMode="auto">
          <a:xfrm>
            <a:off x="0" y="311150"/>
            <a:ext cx="9145588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757" y="310534"/>
              <a:ext cx="1830345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029" y="310534"/>
              <a:ext cx="1830345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514" y="310534"/>
              <a:ext cx="1830345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272" y="310534"/>
              <a:ext cx="1830345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30345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5580063" y="6613525"/>
            <a:ext cx="1066800" cy="18573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</a:rPr>
              <a:t>TBD</a:t>
            </a:r>
            <a:endParaRPr lang="fr-FR" sz="5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43" r:id="rId4"/>
    <p:sldLayoutId id="2147483844" r:id="rId5"/>
    <p:sldLayoutId id="2147483860" r:id="rId6"/>
    <p:sldLayoutId id="2147483845" r:id="rId7"/>
    <p:sldLayoutId id="2147483846" r:id="rId8"/>
    <p:sldLayoutId id="2147483861" r:id="rId9"/>
    <p:sldLayoutId id="2147483847" r:id="rId10"/>
    <p:sldLayoutId id="2147483848" r:id="rId11"/>
    <p:sldLayoutId id="2147483862" r:id="rId12"/>
    <p:sldLayoutId id="2147483849" r:id="rId13"/>
    <p:sldLayoutId id="2147483850" r:id="rId14"/>
    <p:sldLayoutId id="2147483863" r:id="rId15"/>
    <p:sldLayoutId id="2147483851" r:id="rId16"/>
    <p:sldLayoutId id="2147483852" r:id="rId17"/>
    <p:sldLayoutId id="2147483853" r:id="rId18"/>
  </p:sldLayoutIdLst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988"/>
            <a:ext cx="9144000" cy="368300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8513" y="6503988"/>
            <a:ext cx="0" cy="3540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2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088" y="6613525"/>
            <a:ext cx="647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fr-FR" sz="800">
                <a:solidFill>
                  <a:schemeClr val="bg1"/>
                </a:solidFill>
              </a:rPr>
              <a:t>  </a:t>
            </a:r>
            <a:r>
              <a:rPr lang="en-US" altLang="fr-FR" sz="1000">
                <a:solidFill>
                  <a:schemeClr val="bg1"/>
                </a:solidFill>
              </a:rPr>
              <a:t>Page </a:t>
            </a:r>
            <a:fld id="{EFB56C93-9DFE-43EF-BDD4-AB2725865064}" type="slidenum">
              <a:rPr lang="en-US" altLang="fr-FR" sz="900">
                <a:solidFill>
                  <a:schemeClr val="bg1"/>
                </a:solidFill>
              </a:rPr>
              <a:pPr algn="ctr"/>
              <a:t>‹N°›</a:t>
            </a:fld>
            <a:endParaRPr lang="en-US" altLang="fr-FR" sz="800">
              <a:solidFill>
                <a:schemeClr val="bg1"/>
              </a:solidFill>
            </a:endParaRPr>
          </a:p>
        </p:txBody>
      </p:sp>
      <p:pic>
        <p:nvPicPr>
          <p:cNvPr id="2053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5600"/>
            <a:ext cx="9144000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501650"/>
            <a:ext cx="123031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5" name="Groupe 2"/>
          <p:cNvGrpSpPr>
            <a:grpSpLocks/>
          </p:cNvGrpSpPr>
          <p:nvPr/>
        </p:nvGrpSpPr>
        <p:grpSpPr bwMode="auto">
          <a:xfrm>
            <a:off x="0" y="311150"/>
            <a:ext cx="9145588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757" y="310534"/>
              <a:ext cx="1828757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029" y="310534"/>
              <a:ext cx="1830345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514" y="310534"/>
              <a:ext cx="1830345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272" y="310534"/>
              <a:ext cx="1830345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30345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5580063" y="6613525"/>
            <a:ext cx="1066800" cy="18573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</a:rPr>
              <a:t>P3-0032-01</a:t>
            </a:r>
            <a:endParaRPr lang="fr-FR" sz="5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54" r:id="rId18"/>
  </p:sldLayoutIdLst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988"/>
            <a:ext cx="9144000" cy="368300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8513" y="6503988"/>
            <a:ext cx="0" cy="3540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6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47088" y="6613525"/>
            <a:ext cx="647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fr-FR" sz="800">
                <a:solidFill>
                  <a:schemeClr val="bg1"/>
                </a:solidFill>
              </a:rPr>
              <a:t>  </a:t>
            </a:r>
            <a:r>
              <a:rPr lang="en-US" altLang="fr-FR" sz="1000">
                <a:solidFill>
                  <a:schemeClr val="bg1"/>
                </a:solidFill>
              </a:rPr>
              <a:t>Page </a:t>
            </a:r>
            <a:fld id="{46C75426-4FB4-490D-B92E-04ED2FC6F406}" type="slidenum">
              <a:rPr lang="en-US" altLang="fr-FR" sz="900">
                <a:solidFill>
                  <a:schemeClr val="bg1"/>
                </a:solidFill>
              </a:rPr>
              <a:pPr algn="ctr"/>
              <a:t>‹N°›</a:t>
            </a:fld>
            <a:endParaRPr lang="en-US" altLang="fr-FR" sz="800">
              <a:solidFill>
                <a:schemeClr val="bg1"/>
              </a:solidFill>
            </a:endParaRPr>
          </a:p>
        </p:txBody>
      </p:sp>
      <p:pic>
        <p:nvPicPr>
          <p:cNvPr id="3077" name="Image 1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5600"/>
            <a:ext cx="9144000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Imag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501650"/>
            <a:ext cx="123031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9" name="Groupe 1"/>
          <p:cNvGrpSpPr>
            <a:grpSpLocks/>
          </p:cNvGrpSpPr>
          <p:nvPr/>
        </p:nvGrpSpPr>
        <p:grpSpPr bwMode="auto">
          <a:xfrm>
            <a:off x="0" y="311150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2286000" y="310534"/>
              <a:ext cx="2286000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4572000" y="310534"/>
              <a:ext cx="2286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6858000" y="310534"/>
              <a:ext cx="2286000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2286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Espace réservé de la date 3"/>
          <p:cNvSpPr txBox="1">
            <a:spLocks/>
          </p:cNvSpPr>
          <p:nvPr userDrawn="1"/>
        </p:nvSpPr>
        <p:spPr>
          <a:xfrm>
            <a:off x="5580063" y="6613525"/>
            <a:ext cx="1066800" cy="18573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</a:rPr>
              <a:t>P3-0032-01</a:t>
            </a:r>
            <a:endParaRPr lang="fr-FR" sz="5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  <p:sldLayoutId id="2147483893" r:id="rId13"/>
    <p:sldLayoutId id="2147483894" r:id="rId14"/>
    <p:sldLayoutId id="2147483855" r:id="rId15"/>
  </p:sldLayoutIdLst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988"/>
            <a:ext cx="9144000" cy="368300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8513" y="6503988"/>
            <a:ext cx="0" cy="3540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0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47088" y="6613525"/>
            <a:ext cx="647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fr-FR" sz="800">
                <a:solidFill>
                  <a:schemeClr val="bg1"/>
                </a:solidFill>
              </a:rPr>
              <a:t>  </a:t>
            </a:r>
            <a:r>
              <a:rPr lang="en-US" altLang="fr-FR" sz="1000">
                <a:solidFill>
                  <a:schemeClr val="bg1"/>
                </a:solidFill>
              </a:rPr>
              <a:t>Page </a:t>
            </a:r>
            <a:fld id="{C1CF826B-34C6-4367-94A7-107CDE7DA671}" type="slidenum">
              <a:rPr lang="en-US" altLang="fr-FR" sz="900">
                <a:solidFill>
                  <a:schemeClr val="bg1"/>
                </a:solidFill>
              </a:rPr>
              <a:pPr algn="ctr"/>
              <a:t>‹N°›</a:t>
            </a:fld>
            <a:endParaRPr lang="en-US" altLang="fr-FR" sz="800">
              <a:solidFill>
                <a:schemeClr val="bg1"/>
              </a:solidFill>
            </a:endParaRPr>
          </a:p>
        </p:txBody>
      </p:sp>
      <p:pic>
        <p:nvPicPr>
          <p:cNvPr id="4101" name="Imag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5600"/>
            <a:ext cx="9144000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Imag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501650"/>
            <a:ext cx="123031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03" name="Groupe 2"/>
          <p:cNvGrpSpPr>
            <a:grpSpLocks/>
          </p:cNvGrpSpPr>
          <p:nvPr/>
        </p:nvGrpSpPr>
        <p:grpSpPr bwMode="auto">
          <a:xfrm>
            <a:off x="0" y="311150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3049588" y="310534"/>
              <a:ext cx="304641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6096000" y="310534"/>
              <a:ext cx="3048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3048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Espace réservé de la date 3"/>
          <p:cNvSpPr txBox="1">
            <a:spLocks/>
          </p:cNvSpPr>
          <p:nvPr userDrawn="1"/>
        </p:nvSpPr>
        <p:spPr>
          <a:xfrm>
            <a:off x="5580063" y="6613525"/>
            <a:ext cx="1066800" cy="18573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</a:rPr>
              <a:t>P3-0032-01</a:t>
            </a:r>
            <a:endParaRPr lang="fr-FR" sz="5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856" r:id="rId12"/>
  </p:sldLayoutIdLst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re 4"/>
          <p:cNvSpPr>
            <a:spLocks noGrp="1"/>
          </p:cNvSpPr>
          <p:nvPr>
            <p:ph type="ctrTitle"/>
          </p:nvPr>
        </p:nvSpPr>
        <p:spPr bwMode="auto">
          <a:xfrm>
            <a:off x="5148263" y="2852738"/>
            <a:ext cx="2736850" cy="13541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altLang="fr-FR" smtClean="0"/>
              <a:t>Formation GIT</a:t>
            </a:r>
          </a:p>
        </p:txBody>
      </p:sp>
      <p:sp>
        <p:nvSpPr>
          <p:cNvPr id="55299" name="Sous-titre 2"/>
          <p:cNvSpPr>
            <a:spLocks noGrp="1"/>
          </p:cNvSpPr>
          <p:nvPr>
            <p:ph type="subTitle" idx="1"/>
          </p:nvPr>
        </p:nvSpPr>
        <p:spPr bwMode="auto">
          <a:xfrm>
            <a:off x="2573338" y="4652963"/>
            <a:ext cx="6273800" cy="369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Laurent Kappel</a:t>
            </a:r>
          </a:p>
        </p:txBody>
      </p:sp>
      <p:sp>
        <p:nvSpPr>
          <p:cNvPr id="4" name="Titre 5"/>
          <p:cNvSpPr txBox="1">
            <a:spLocks/>
          </p:cNvSpPr>
          <p:nvPr/>
        </p:nvSpPr>
        <p:spPr>
          <a:xfrm>
            <a:off x="2741613" y="6021388"/>
            <a:ext cx="2968625" cy="50800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Groupe 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SII </a:t>
            </a:r>
            <a:endParaRPr lang="fr-FR" sz="1100" b="1" dirty="0" smtClean="0">
              <a:solidFill>
                <a:schemeClr val="bg1"/>
              </a:solidFill>
              <a:latin typeface="+mn-lt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65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, rue de Bercy - 75012 Pari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1100" b="1" dirty="0">
                <a:solidFill>
                  <a:schemeClr val="bg1"/>
                </a:solidFill>
                <a:latin typeface="+mn-lt"/>
              </a:rPr>
              <a:t>Tél : 01 42 84 82 22 - Fax : 01 42 84 30 </a:t>
            </a: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82</a:t>
            </a:r>
            <a:endParaRPr lang="fr-FR" sz="11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530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2852738"/>
            <a:ext cx="3622675" cy="151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Git is Distributed</a:t>
            </a:r>
            <a:endParaRPr lang="fr-FR" altLang="fr-FR" smtClean="0"/>
          </a:p>
        </p:txBody>
      </p:sp>
      <p:sp>
        <p:nvSpPr>
          <p:cNvPr id="64515" name="Espace réservé du texte 1"/>
          <p:cNvSpPr txBox="1">
            <a:spLocks/>
          </p:cNvSpPr>
          <p:nvPr/>
        </p:nvSpPr>
        <p:spPr bwMode="auto">
          <a:xfrm>
            <a:off x="449263" y="4157663"/>
            <a:ext cx="8502650" cy="2376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1971675" indent="-142875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4288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8860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3432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004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</a:pPr>
            <a:endParaRPr lang="fr-FR" altLang="fr-FR" sz="2400" b="1">
              <a:solidFill>
                <a:schemeClr val="tx2"/>
              </a:solidFill>
            </a:endParaRPr>
          </a:p>
        </p:txBody>
      </p:sp>
      <p:sp>
        <p:nvSpPr>
          <p:cNvPr id="64516" name="Rectangle 4"/>
          <p:cNvSpPr>
            <a:spLocks noChangeArrowheads="1"/>
          </p:cNvSpPr>
          <p:nvPr/>
        </p:nvSpPr>
        <p:spPr bwMode="auto">
          <a:xfrm>
            <a:off x="1403350" y="3541713"/>
            <a:ext cx="11525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b="1">
                <a:solidFill>
                  <a:srgbClr val="FF0000"/>
                </a:solidFill>
              </a:rPr>
              <a:t>RD/WR</a:t>
            </a:r>
            <a:endParaRPr lang="fr-FR" altLang="fr-FR">
              <a:solidFill>
                <a:srgbClr val="FF0000"/>
              </a:solidFill>
            </a:endParaRPr>
          </a:p>
        </p:txBody>
      </p:sp>
      <p:cxnSp>
        <p:nvCxnSpPr>
          <p:cNvPr id="11" name="Connecteur droit avec flèche 10"/>
          <p:cNvCxnSpPr/>
          <p:nvPr/>
        </p:nvCxnSpPr>
        <p:spPr>
          <a:xfrm>
            <a:off x="2951163" y="3141663"/>
            <a:ext cx="287337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51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0" y="2636838"/>
            <a:ext cx="32766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750" y="2709863"/>
            <a:ext cx="18002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20" name="Rectangle 13"/>
          <p:cNvSpPr>
            <a:spLocks noChangeArrowheads="1"/>
          </p:cNvSpPr>
          <p:nvPr/>
        </p:nvSpPr>
        <p:spPr bwMode="auto">
          <a:xfrm>
            <a:off x="2051050" y="1700213"/>
            <a:ext cx="45720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/>
              <a:t>A </a:t>
            </a:r>
            <a:r>
              <a:rPr lang="fr-FR" altLang="fr-FR" u="sng"/>
              <a:t>very</a:t>
            </a:r>
            <a:r>
              <a:rPr lang="fr-FR" altLang="fr-FR"/>
              <a:t> common practice:</a:t>
            </a:r>
          </a:p>
          <a:p>
            <a:pPr algn="ctr"/>
            <a:r>
              <a:rPr lang="fr-FR" altLang="fr-FR"/>
              <a:t>Sharing via </a:t>
            </a:r>
            <a:r>
              <a:rPr lang="fr-FR" altLang="fr-FR" u="sng"/>
              <a:t>user-owned repos</a:t>
            </a:r>
          </a:p>
        </p:txBody>
      </p:sp>
      <p:pic>
        <p:nvPicPr>
          <p:cNvPr id="64521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2781300"/>
            <a:ext cx="1495425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Connecteur droit avec flèche 20"/>
          <p:cNvCxnSpPr/>
          <p:nvPr/>
        </p:nvCxnSpPr>
        <p:spPr>
          <a:xfrm>
            <a:off x="2951163" y="3068638"/>
            <a:ext cx="287337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/>
          <p:nvPr/>
        </p:nvCxnSpPr>
        <p:spPr>
          <a:xfrm>
            <a:off x="2971800" y="4705350"/>
            <a:ext cx="287338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 flipV="1">
            <a:off x="2251075" y="3357563"/>
            <a:ext cx="863600" cy="87630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525" name="Rectangle 5"/>
          <p:cNvSpPr>
            <a:spLocks noChangeArrowheads="1"/>
          </p:cNvSpPr>
          <p:nvPr/>
        </p:nvSpPr>
        <p:spPr bwMode="auto">
          <a:xfrm>
            <a:off x="2411413" y="3705225"/>
            <a:ext cx="12239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 b="1">
                <a:solidFill>
                  <a:srgbClr val="FF0000"/>
                </a:solidFill>
              </a:rPr>
              <a:t>READ</a:t>
            </a:r>
          </a:p>
          <a:p>
            <a:pPr algn="ctr"/>
            <a:r>
              <a:rPr lang="fr-FR" altLang="fr-FR" b="1">
                <a:solidFill>
                  <a:srgbClr val="FF0000"/>
                </a:solidFill>
              </a:rPr>
              <a:t>ONLY</a:t>
            </a:r>
            <a:endParaRPr lang="fr-FR" altLang="fr-FR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Titre 1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Git is Distributed</a:t>
            </a:r>
            <a:endParaRPr lang="fr-FR" altLang="fr-FR" smtClean="0"/>
          </a:p>
        </p:txBody>
      </p:sp>
      <p:pic>
        <p:nvPicPr>
          <p:cNvPr id="6553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0" y="2636838"/>
            <a:ext cx="6915150" cy="296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40" name="Rectangle 28"/>
          <p:cNvSpPr>
            <a:spLocks noChangeArrowheads="1"/>
          </p:cNvSpPr>
          <p:nvPr/>
        </p:nvSpPr>
        <p:spPr bwMode="auto">
          <a:xfrm>
            <a:off x="2044700" y="1628775"/>
            <a:ext cx="45720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/>
              <a:t>A </a:t>
            </a:r>
            <a:r>
              <a:rPr lang="fr-FR" altLang="fr-FR" u="sng"/>
              <a:t>very</a:t>
            </a:r>
            <a:r>
              <a:rPr lang="fr-FR" altLang="fr-FR"/>
              <a:t> common practice:</a:t>
            </a:r>
          </a:p>
          <a:p>
            <a:pPr algn="ctr"/>
            <a:r>
              <a:rPr lang="fr-FR" altLang="fr-FR"/>
              <a:t>Sharing via </a:t>
            </a:r>
            <a:r>
              <a:rPr lang="fr-FR" altLang="fr-FR" u="sng"/>
              <a:t>user-owned rep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Git is Distributed</a:t>
            </a:r>
            <a:endParaRPr lang="fr-FR" altLang="fr-FR" smtClean="0"/>
          </a:p>
        </p:txBody>
      </p:sp>
      <p:sp>
        <p:nvSpPr>
          <p:cNvPr id="66563" name="Espace réservé du texte 1"/>
          <p:cNvSpPr txBox="1">
            <a:spLocks/>
          </p:cNvSpPr>
          <p:nvPr/>
        </p:nvSpPr>
        <p:spPr bwMode="auto">
          <a:xfrm>
            <a:off x="449263" y="4157663"/>
            <a:ext cx="8502650" cy="2376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1971675" indent="-142875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4288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8860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3432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00475" indent="-1428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</a:pPr>
            <a:endParaRPr lang="fr-FR" altLang="fr-FR" sz="2400" b="1">
              <a:solidFill>
                <a:schemeClr val="tx2"/>
              </a:solidFill>
            </a:endParaRPr>
          </a:p>
        </p:txBody>
      </p:sp>
      <p:sp>
        <p:nvSpPr>
          <p:cNvPr id="66564" name="Rectangle 4"/>
          <p:cNvSpPr>
            <a:spLocks noChangeArrowheads="1"/>
          </p:cNvSpPr>
          <p:nvPr/>
        </p:nvSpPr>
        <p:spPr bwMode="auto">
          <a:xfrm>
            <a:off x="1403350" y="3541713"/>
            <a:ext cx="11525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b="1">
                <a:solidFill>
                  <a:srgbClr val="FF0000"/>
                </a:solidFill>
              </a:rPr>
              <a:t>RD/WR</a:t>
            </a:r>
            <a:endParaRPr lang="fr-FR" altLang="fr-FR">
              <a:solidFill>
                <a:srgbClr val="FF0000"/>
              </a:solidFill>
            </a:endParaRPr>
          </a:p>
        </p:txBody>
      </p:sp>
      <p:cxnSp>
        <p:nvCxnSpPr>
          <p:cNvPr id="11" name="Connecteur droit avec flèche 10"/>
          <p:cNvCxnSpPr/>
          <p:nvPr/>
        </p:nvCxnSpPr>
        <p:spPr>
          <a:xfrm>
            <a:off x="2951163" y="3141663"/>
            <a:ext cx="287337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6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0" y="2636838"/>
            <a:ext cx="32766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750" y="2709863"/>
            <a:ext cx="18002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568" name="Rectangle 13"/>
          <p:cNvSpPr>
            <a:spLocks noChangeArrowheads="1"/>
          </p:cNvSpPr>
          <p:nvPr/>
        </p:nvSpPr>
        <p:spPr bwMode="auto">
          <a:xfrm>
            <a:off x="2051050" y="1700213"/>
            <a:ext cx="45720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/>
              <a:t>A </a:t>
            </a:r>
            <a:r>
              <a:rPr lang="fr-FR" altLang="fr-FR" u="sng"/>
              <a:t>very</a:t>
            </a:r>
            <a:r>
              <a:rPr lang="fr-FR" altLang="fr-FR"/>
              <a:t> common practice:</a:t>
            </a:r>
          </a:p>
          <a:p>
            <a:pPr algn="ctr"/>
            <a:r>
              <a:rPr lang="fr-FR" altLang="fr-FR"/>
              <a:t>Sharing via </a:t>
            </a:r>
            <a:r>
              <a:rPr lang="fr-FR" altLang="fr-FR" u="sng"/>
              <a:t>user-owned repos</a:t>
            </a:r>
          </a:p>
        </p:txBody>
      </p:sp>
      <p:pic>
        <p:nvPicPr>
          <p:cNvPr id="66569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2781300"/>
            <a:ext cx="1495425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Connecteur droit avec flèche 20"/>
          <p:cNvCxnSpPr/>
          <p:nvPr/>
        </p:nvCxnSpPr>
        <p:spPr>
          <a:xfrm>
            <a:off x="2951163" y="3068638"/>
            <a:ext cx="287337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/>
          <p:nvPr/>
        </p:nvCxnSpPr>
        <p:spPr>
          <a:xfrm>
            <a:off x="2971800" y="4705350"/>
            <a:ext cx="287338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 flipV="1">
            <a:off x="2251075" y="3357563"/>
            <a:ext cx="863600" cy="87630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573" name="Rectangle 5"/>
          <p:cNvSpPr>
            <a:spLocks noChangeArrowheads="1"/>
          </p:cNvSpPr>
          <p:nvPr/>
        </p:nvSpPr>
        <p:spPr bwMode="auto">
          <a:xfrm>
            <a:off x="2411413" y="3705225"/>
            <a:ext cx="12239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 b="1">
                <a:solidFill>
                  <a:srgbClr val="FF0000"/>
                </a:solidFill>
              </a:rPr>
              <a:t>READ</a:t>
            </a:r>
          </a:p>
          <a:p>
            <a:pPr algn="ctr"/>
            <a:r>
              <a:rPr lang="fr-FR" altLang="fr-FR" b="1">
                <a:solidFill>
                  <a:srgbClr val="FF0000"/>
                </a:solidFill>
              </a:rPr>
              <a:t>ONLY</a:t>
            </a:r>
            <a:endParaRPr lang="fr-FR" altLang="fr-FR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Titre 1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Git is Distributed</a:t>
            </a:r>
            <a:endParaRPr lang="fr-FR" altLang="fr-FR" smtClean="0"/>
          </a:p>
        </p:txBody>
      </p:sp>
      <p:pic>
        <p:nvPicPr>
          <p:cNvPr id="6758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1317625"/>
            <a:ext cx="7145337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4554538"/>
            <a:ext cx="468630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589" name="Rectangle 3"/>
          <p:cNvSpPr>
            <a:spLocks noChangeArrowheads="1"/>
          </p:cNvSpPr>
          <p:nvPr/>
        </p:nvSpPr>
        <p:spPr bwMode="auto">
          <a:xfrm>
            <a:off x="3203575" y="4076700"/>
            <a:ext cx="10810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/>
              <a:t>Hoste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1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Distributed Workflow Example</a:t>
            </a:r>
            <a:endParaRPr lang="fr-FR" altLang="fr-FR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itre 41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endParaRPr lang="fr-FR" altLang="fr-FR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endParaRPr lang="fr-FR" altLang="fr-FR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endParaRPr lang="fr-FR" altLang="fr-FR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itre 1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endParaRPr lang="fr-FR" altLang="fr-FR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Espace réservé du texte vertical 15"/>
          <p:cNvSpPr>
            <a:spLocks noGrp="1"/>
          </p:cNvSpPr>
          <p:nvPr>
            <p:ph type="body" orient="vert" idx="14"/>
          </p:nvPr>
        </p:nvSpPr>
        <p:spPr bwMode="auto">
          <a:xfrm>
            <a:off x="954088" y="4005263"/>
            <a:ext cx="7505700" cy="4175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Git is Distributed</a:t>
            </a:r>
          </a:p>
        </p:txBody>
      </p:sp>
      <p:sp>
        <p:nvSpPr>
          <p:cNvPr id="56323" name="Espace réservé du texte vertical 14"/>
          <p:cNvSpPr>
            <a:spLocks noGrp="1"/>
          </p:cNvSpPr>
          <p:nvPr>
            <p:ph type="body" orient="vert" idx="12"/>
          </p:nvPr>
        </p:nvSpPr>
        <p:spPr bwMode="auto">
          <a:xfrm>
            <a:off x="1187450" y="3500438"/>
            <a:ext cx="7505700" cy="4175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GIT Avantages</a:t>
            </a:r>
          </a:p>
        </p:txBody>
      </p:sp>
      <p:sp>
        <p:nvSpPr>
          <p:cNvPr id="56324" name="Espace réservé du texte vertical 11"/>
          <p:cNvSpPr>
            <a:spLocks noGrp="1"/>
          </p:cNvSpPr>
          <p:nvPr>
            <p:ph type="body" orient="vert" idx="1"/>
          </p:nvPr>
        </p:nvSpPr>
        <p:spPr bwMode="auto">
          <a:xfrm>
            <a:off x="1458913" y="2074863"/>
            <a:ext cx="7505700" cy="4175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GIT : SCM</a:t>
            </a:r>
          </a:p>
        </p:txBody>
      </p:sp>
      <p:sp>
        <p:nvSpPr>
          <p:cNvPr id="56325" name="Espace réservé du texte vertical 12"/>
          <p:cNvSpPr>
            <a:spLocks noGrp="1"/>
          </p:cNvSpPr>
          <p:nvPr>
            <p:ph type="body" orient="vert" idx="10"/>
          </p:nvPr>
        </p:nvSpPr>
        <p:spPr bwMode="auto">
          <a:xfrm>
            <a:off x="1458913" y="2508250"/>
            <a:ext cx="7505700" cy="415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Panorama des SCM</a:t>
            </a:r>
          </a:p>
        </p:txBody>
      </p:sp>
      <p:sp>
        <p:nvSpPr>
          <p:cNvPr id="56326" name="Espace réservé du texte vertical 13"/>
          <p:cNvSpPr>
            <a:spLocks noGrp="1"/>
          </p:cNvSpPr>
          <p:nvPr>
            <p:ph type="body" orient="vert" idx="11"/>
          </p:nvPr>
        </p:nvSpPr>
        <p:spPr bwMode="auto">
          <a:xfrm>
            <a:off x="1387475" y="2997200"/>
            <a:ext cx="7505700" cy="4175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GIT: </a:t>
            </a:r>
            <a:r>
              <a:rPr lang="fr-FR" altLang="fr-FR" b="1" smtClean="0"/>
              <a:t>not </a:t>
            </a:r>
            <a:r>
              <a:rPr lang="fr-FR" altLang="fr-FR" smtClean="0"/>
              <a:t>an evolution</a:t>
            </a:r>
          </a:p>
        </p:txBody>
      </p:sp>
      <p:sp>
        <p:nvSpPr>
          <p:cNvPr id="56327" name="Espace réservé du texte vertical 15"/>
          <p:cNvSpPr txBox="1">
            <a:spLocks/>
          </p:cNvSpPr>
          <p:nvPr/>
        </p:nvSpPr>
        <p:spPr bwMode="auto">
          <a:xfrm>
            <a:off x="738188" y="4437063"/>
            <a:ext cx="7505700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663575" indent="-206375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20000"/>
              </a:spcBef>
              <a:buSzPct val="120000"/>
            </a:pPr>
            <a:endParaRPr lang="fr-FR" altLang="fr-FR" sz="2400">
              <a:solidFill>
                <a:schemeClr val="accent1"/>
              </a:solidFill>
            </a:endParaRPr>
          </a:p>
        </p:txBody>
      </p:sp>
      <p:sp>
        <p:nvSpPr>
          <p:cNvPr id="56328" name="Espace réservé du texte vertical 15"/>
          <p:cNvSpPr txBox="1">
            <a:spLocks/>
          </p:cNvSpPr>
          <p:nvPr/>
        </p:nvSpPr>
        <p:spPr bwMode="auto">
          <a:xfrm>
            <a:off x="379413" y="4906963"/>
            <a:ext cx="7505700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663575" indent="-206375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20000"/>
              </a:spcBef>
              <a:buSzPct val="120000"/>
            </a:pPr>
            <a:endParaRPr lang="fr-FR" altLang="fr-FR" sz="240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re 1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GIT: SCM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1401763"/>
            <a:ext cx="4052887" cy="1277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75" y="3052763"/>
            <a:ext cx="1079500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688" y="2919413"/>
            <a:ext cx="1827212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913" y="2468563"/>
            <a:ext cx="1231900" cy="136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825" y="3284538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8088" y="3749675"/>
            <a:ext cx="4678362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775" y="5089525"/>
            <a:ext cx="601663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050" y="4306888"/>
            <a:ext cx="57467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175" y="4803775"/>
            <a:ext cx="2476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688" y="4929188"/>
            <a:ext cx="61595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663" y="4411663"/>
            <a:ext cx="38893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7025" y="4518025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50" y="4313238"/>
            <a:ext cx="588963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9925" y="5289550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5200" y="5087938"/>
            <a:ext cx="57308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necteur droit 5"/>
          <p:cNvCxnSpPr/>
          <p:nvPr/>
        </p:nvCxnSpPr>
        <p:spPr>
          <a:xfrm>
            <a:off x="5626100" y="4413250"/>
            <a:ext cx="704850" cy="411163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 flipH="1">
            <a:off x="5626100" y="4413250"/>
            <a:ext cx="704850" cy="411163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2" name="Picture 18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663" y="4391025"/>
            <a:ext cx="576262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25" y="5581650"/>
            <a:ext cx="2189163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438" y="5284788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713" y="5083175"/>
            <a:ext cx="57308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413" y="5276850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9238" y="5114925"/>
            <a:ext cx="57308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319588" y="3986213"/>
            <a:ext cx="11969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b="1"/>
              <a:t>« branch »</a:t>
            </a:r>
            <a:endParaRPr lang="fr-FR" altLang="fr-FR"/>
          </a:p>
        </p:txBody>
      </p:sp>
      <p:pic>
        <p:nvPicPr>
          <p:cNvPr id="28" name="Picture 1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188" y="5127625"/>
            <a:ext cx="57308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9950" y="5283200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7219950" y="4803775"/>
            <a:ext cx="11811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fr-FR" altLang="fr-FR" b="1"/>
              <a:t>« merge »</a:t>
            </a:r>
            <a:endParaRPr lang="fr-FR" altLang="fr-FR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7263" y="5637213"/>
            <a:ext cx="32385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 nodeType="clickPar">
                      <p:stCondLst>
                        <p:cond delay="indefinite"/>
                      </p:stCondLst>
                      <p:childTnLst>
                        <p:par>
                          <p:cTn id="5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0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0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 nodeType="clickPar">
                      <p:stCondLst>
                        <p:cond delay="indefinite"/>
                      </p:stCondLst>
                      <p:childTnLst>
                        <p:par>
                          <p:cTn id="7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 nodeType="clickPar">
                      <p:stCondLst>
                        <p:cond delay="indefinite"/>
                      </p:stCondLst>
                      <p:childTnLst>
                        <p:par>
                          <p:cTn id="9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 nodeType="clickPar">
                      <p:stCondLst>
                        <p:cond delay="indefinite"/>
                      </p:stCondLst>
                      <p:childTnLst>
                        <p:par>
                          <p:cTn id="1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itre 3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Panorama des SCM</a:t>
            </a:r>
            <a:endParaRPr lang="fr-FR" altLang="fr-FR" smtClean="0"/>
          </a:p>
        </p:txBody>
      </p:sp>
      <p:pic>
        <p:nvPicPr>
          <p:cNvPr id="5837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88" y="1844675"/>
            <a:ext cx="5148262" cy="388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re 1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Un peu d’histoire…</a:t>
            </a:r>
            <a:endParaRPr lang="fr-FR" altLang="fr-FR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425" y="3414713"/>
            <a:ext cx="2219325" cy="176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550" y="3644900"/>
            <a:ext cx="2879725" cy="208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213" y="2133600"/>
            <a:ext cx="103187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1488" y="3473450"/>
            <a:ext cx="4095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275" y="3641725"/>
            <a:ext cx="14859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975" y="3414713"/>
            <a:ext cx="9144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4149725"/>
            <a:ext cx="1790700" cy="221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u texte 1"/>
          <p:cNvSpPr>
            <a:spLocks noGrp="1"/>
          </p:cNvSpPr>
          <p:nvPr>
            <p:ph type="body" sz="quarter" idx="10"/>
          </p:nvPr>
        </p:nvSpPr>
        <p:spPr bwMode="auto">
          <a:xfrm>
            <a:off x="317500" y="1412875"/>
            <a:ext cx="8502650" cy="467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altLang="fr-FR" smtClean="0"/>
          </a:p>
        </p:txBody>
      </p:sp>
      <p:sp>
        <p:nvSpPr>
          <p:cNvPr id="60419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smtClean="0"/>
              <a:t>not </a:t>
            </a:r>
            <a:r>
              <a:rPr lang="fr-FR" altLang="fr-FR" b="0" smtClean="0"/>
              <a:t>an evolution</a:t>
            </a:r>
            <a:endParaRPr lang="fr-FR" altLang="fr-FR" smtClean="0"/>
          </a:p>
        </p:txBody>
      </p:sp>
      <p:pic>
        <p:nvPicPr>
          <p:cNvPr id="604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0" y="2420938"/>
            <a:ext cx="6419850" cy="32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4"/>
          <p:cNvCxnSpPr/>
          <p:nvPr/>
        </p:nvCxnSpPr>
        <p:spPr>
          <a:xfrm>
            <a:off x="2411413" y="3357563"/>
            <a:ext cx="4681537" cy="2273300"/>
          </a:xfrm>
          <a:prstGeom prst="line">
            <a:avLst/>
          </a:prstGeom>
          <a:ln w="2381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 flipV="1">
            <a:off x="2563813" y="3213100"/>
            <a:ext cx="4529137" cy="2447925"/>
          </a:xfrm>
          <a:prstGeom prst="line">
            <a:avLst/>
          </a:prstGeom>
          <a:ln w="2381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Espace réservé du texte 1"/>
          <p:cNvSpPr>
            <a:spLocks noGrp="1"/>
          </p:cNvSpPr>
          <p:nvPr>
            <p:ph type="body" sz="quarter" idx="10"/>
          </p:nvPr>
        </p:nvSpPr>
        <p:spPr bwMode="auto">
          <a:xfrm>
            <a:off x="317500" y="1628775"/>
            <a:ext cx="8502650" cy="467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altLang="fr-FR" dirty="0" smtClean="0"/>
          </a:p>
        </p:txBody>
      </p:sp>
      <p:sp>
        <p:nvSpPr>
          <p:cNvPr id="61443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GIT Avantages</a:t>
            </a:r>
            <a:endParaRPr lang="fr-FR" altLang="fr-FR" smtClean="0"/>
          </a:p>
        </p:txBody>
      </p:sp>
      <p:pic>
        <p:nvPicPr>
          <p:cNvPr id="6144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850" y="2276475"/>
            <a:ext cx="2686050" cy="376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itre 1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Centralized SCM</a:t>
            </a:r>
            <a:endParaRPr lang="fr-FR" altLang="fr-FR" smtClean="0"/>
          </a:p>
        </p:txBody>
      </p:sp>
      <p:pic>
        <p:nvPicPr>
          <p:cNvPr id="6246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0" y="1393825"/>
            <a:ext cx="6419850" cy="442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468" name="Rectangle 3"/>
          <p:cNvSpPr>
            <a:spLocks noChangeArrowheads="1"/>
          </p:cNvSpPr>
          <p:nvPr/>
        </p:nvSpPr>
        <p:spPr bwMode="auto">
          <a:xfrm>
            <a:off x="5651500" y="2205038"/>
            <a:ext cx="14224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 b="1">
                <a:solidFill>
                  <a:srgbClr val="FF0000"/>
                </a:solidFill>
              </a:rPr>
              <a:t>Single Point</a:t>
            </a:r>
          </a:p>
          <a:p>
            <a:pPr algn="ctr"/>
            <a:r>
              <a:rPr lang="fr-FR" altLang="fr-FR" b="1">
                <a:solidFill>
                  <a:srgbClr val="FF0000"/>
                </a:solidFill>
              </a:rPr>
              <a:t>of Failure</a:t>
            </a:r>
            <a:endParaRPr lang="fr-FR" altLang="fr-FR">
              <a:solidFill>
                <a:srgbClr val="FF0000"/>
              </a:solidFill>
            </a:endParaRPr>
          </a:p>
        </p:txBody>
      </p:sp>
      <p:sp>
        <p:nvSpPr>
          <p:cNvPr id="62469" name="Rectangle 10"/>
          <p:cNvSpPr>
            <a:spLocks noChangeArrowheads="1"/>
          </p:cNvSpPr>
          <p:nvPr/>
        </p:nvSpPr>
        <p:spPr bwMode="auto">
          <a:xfrm>
            <a:off x="1331913" y="2205038"/>
            <a:ext cx="127793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 b="1">
                <a:solidFill>
                  <a:srgbClr val="FF0000"/>
                </a:solidFill>
              </a:rPr>
              <a:t>Network</a:t>
            </a:r>
          </a:p>
          <a:p>
            <a:pPr algn="ctr"/>
            <a:r>
              <a:rPr lang="fr-FR" altLang="fr-FR" b="1">
                <a:solidFill>
                  <a:srgbClr val="FF0000"/>
                </a:solidFill>
              </a:rPr>
              <a:t>(slow)</a:t>
            </a:r>
            <a:endParaRPr lang="fr-FR" altLang="fr-FR">
              <a:solidFill>
                <a:srgbClr val="FF0000"/>
              </a:solidFill>
            </a:endParaRPr>
          </a:p>
        </p:txBody>
      </p:sp>
      <p:cxnSp>
        <p:nvCxnSpPr>
          <p:cNvPr id="15" name="Connecteur droit avec flèche 14"/>
          <p:cNvCxnSpPr/>
          <p:nvPr/>
        </p:nvCxnSpPr>
        <p:spPr>
          <a:xfrm>
            <a:off x="2609850" y="2851150"/>
            <a:ext cx="557213" cy="506413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/>
          <p:cNvCxnSpPr/>
          <p:nvPr/>
        </p:nvCxnSpPr>
        <p:spPr>
          <a:xfrm>
            <a:off x="2609850" y="2851150"/>
            <a:ext cx="1116013" cy="1603375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472" name="Rectangle 17"/>
          <p:cNvSpPr>
            <a:spLocks noChangeArrowheads="1"/>
          </p:cNvSpPr>
          <p:nvPr/>
        </p:nvSpPr>
        <p:spPr bwMode="auto">
          <a:xfrm>
            <a:off x="6850063" y="4868863"/>
            <a:ext cx="106045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fr-FR" altLang="fr-FR" b="1">
                <a:solidFill>
                  <a:srgbClr val="FF0000"/>
                </a:solidFill>
              </a:rPr>
              <a:t>Access</a:t>
            </a:r>
          </a:p>
          <a:p>
            <a:pPr algn="ctr"/>
            <a:r>
              <a:rPr lang="fr-FR" altLang="fr-FR" b="1">
                <a:solidFill>
                  <a:srgbClr val="FF0000"/>
                </a:solidFill>
              </a:rPr>
              <a:t>Rights?</a:t>
            </a:r>
            <a:endParaRPr lang="fr-FR" altLang="fr-FR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1" name="Titre 2"/>
          <p:cNvSpPr>
            <a:spLocks noGrp="1"/>
          </p:cNvSpPr>
          <p:nvPr>
            <p:ph type="ctrTitle"/>
          </p:nvPr>
        </p:nvSpPr>
        <p:spPr bwMode="auto">
          <a:xfrm>
            <a:off x="468313" y="503238"/>
            <a:ext cx="6408737" cy="401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/>
          <a:p>
            <a:r>
              <a:rPr lang="fr-FR" altLang="fr-FR" b="0" smtClean="0"/>
              <a:t>Git is Distributed</a:t>
            </a:r>
            <a:endParaRPr lang="fr-FR" altLang="fr-FR" smtClean="0"/>
          </a:p>
        </p:txBody>
      </p:sp>
      <p:pic>
        <p:nvPicPr>
          <p:cNvPr id="6349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1989138"/>
            <a:ext cx="3025775" cy="355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avec flèche 4"/>
          <p:cNvCxnSpPr/>
          <p:nvPr/>
        </p:nvCxnSpPr>
        <p:spPr>
          <a:xfrm>
            <a:off x="3995738" y="3822700"/>
            <a:ext cx="504825" cy="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>
            <a:off x="3995738" y="5084763"/>
            <a:ext cx="504825" cy="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 flipV="1">
            <a:off x="5065713" y="4076700"/>
            <a:ext cx="0" cy="665163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/>
          <p:cNvCxnSpPr/>
          <p:nvPr/>
        </p:nvCxnSpPr>
        <p:spPr>
          <a:xfrm flipV="1">
            <a:off x="3419475" y="4076700"/>
            <a:ext cx="0" cy="665163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/>
          <p:nvPr/>
        </p:nvCxnSpPr>
        <p:spPr>
          <a:xfrm flipV="1">
            <a:off x="3767138" y="4022725"/>
            <a:ext cx="854075" cy="75565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avec flèche 17"/>
          <p:cNvCxnSpPr/>
          <p:nvPr/>
        </p:nvCxnSpPr>
        <p:spPr>
          <a:xfrm flipH="1" flipV="1">
            <a:off x="3708400" y="4057650"/>
            <a:ext cx="935038" cy="703263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49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663" y="4830763"/>
            <a:ext cx="13716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" name="Rectangle 7167"/>
          <p:cNvSpPr/>
          <p:nvPr/>
        </p:nvSpPr>
        <p:spPr>
          <a:xfrm>
            <a:off x="3173413" y="2633663"/>
            <a:ext cx="2149475" cy="57626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No a priori structur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149600" y="5540375"/>
            <a:ext cx="2149475" cy="57626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Git ≠ </a:t>
            </a:r>
            <a:r>
              <a:rPr lang="fr-FR" dirty="0" err="1"/>
              <a:t>Anarchy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S4_0396_FR_Modele_PPT_Paysage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4_0396_FR_Modele_PPT_Paysage</Template>
  <TotalTime>1080</TotalTime>
  <Words>139</Words>
  <Application>Microsoft Office PowerPoint</Application>
  <PresentationFormat>Affichage à l'écran (4:3)</PresentationFormat>
  <Paragraphs>46</Paragraphs>
  <Slides>18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18</vt:i4>
      </vt:variant>
    </vt:vector>
  </HeadingPairs>
  <TitlesOfParts>
    <vt:vector size="22" baseType="lpstr">
      <vt:lpstr>S4_0396_FR_Modele_PPT_Paysage</vt:lpstr>
      <vt:lpstr>5 Parties</vt:lpstr>
      <vt:lpstr>4 Parties</vt:lpstr>
      <vt:lpstr>3 Parties</vt:lpstr>
      <vt:lpstr>Formation GIT</vt:lpstr>
      <vt:lpstr>Présentation PowerPoint</vt:lpstr>
      <vt:lpstr>GIT: SCM</vt:lpstr>
      <vt:lpstr>Panorama des SCM</vt:lpstr>
      <vt:lpstr>Un peu d’histoire…</vt:lpstr>
      <vt:lpstr>not an evolution</vt:lpstr>
      <vt:lpstr>GIT Avantages</vt:lpstr>
      <vt:lpstr>Centralized SCM</vt:lpstr>
      <vt:lpstr>Git is Distributed</vt:lpstr>
      <vt:lpstr>Git is Distributed</vt:lpstr>
      <vt:lpstr>Git is Distributed</vt:lpstr>
      <vt:lpstr>Git is Distributed</vt:lpstr>
      <vt:lpstr>Git is Distributed</vt:lpstr>
      <vt:lpstr>Distributed Workflow Example</vt:lpstr>
      <vt:lpstr>Présentation PowerPoint</vt:lpstr>
      <vt:lpstr>Présentation PowerPoint</vt:lpstr>
      <vt:lpstr>Présentation PowerPoint</vt:lpstr>
      <vt:lpstr>Présentation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GIT</dc:title>
  <dc:creator>Laurent KAPPEL</dc:creator>
  <cp:lastModifiedBy>HPBC4895</cp:lastModifiedBy>
  <cp:revision>181</cp:revision>
  <dcterms:created xsi:type="dcterms:W3CDTF">2013-06-03T15:19:42Z</dcterms:created>
  <dcterms:modified xsi:type="dcterms:W3CDTF">2014-08-12T11:5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f-modele">
    <vt:lpwstr>S4-0396-01</vt:lpwstr>
  </property>
</Properties>
</file>